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2147482944" r:id="rId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E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693B90-F2B9-4797-A19D-1C850F87FEC7}" v="224" dt="2026-05-27T15:42:29.8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7"/>
    <p:restoredTop sz="94630"/>
  </p:normalViewPr>
  <p:slideViewPr>
    <p:cSldViewPr snapToGrid="0">
      <p:cViewPr varScale="1">
        <p:scale>
          <a:sx n="95" d="100"/>
          <a:sy n="95" d="100"/>
        </p:scale>
        <p:origin x="56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D09E59A0-6A72-2FC5-DBF4-69FFC7A2CA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2CF7DEA-4E6E-2CB5-D9CA-B916FB9AE0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6CE35-306C-B649-8DC5-B94B37F7E31B}" type="datetimeFigureOut">
              <a:rPr lang="fr-FR" smtClean="0"/>
              <a:t>05/06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BC3F5D3-8412-CB30-FC5F-906A57B3C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DBDB0F1-73D2-CF7F-7351-E632998DA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AA33BC-9177-2D49-9BD6-5FDA5AE25DD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2441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760DDB-915D-D849-B466-8AB3644DE019}" type="datetimeFigureOut">
              <a:rPr lang="fr-FR" smtClean="0"/>
              <a:t>05/06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2FE0FA-E090-D740-8EA7-179224208406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6895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716F92-77BB-90ED-5515-2CCCC30C8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87DE0C-F203-AF3F-2F73-2700ECB2A1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9EE356-A9E8-CC13-99F7-A61AB894D8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CA1643-B1A6-D3BE-60AB-48BFBB759A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5B7AA-DEA7-454B-908A-29651F8C098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4726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48BB848D-2FC6-4DBD-8D3C-A7CE120AE8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243" y="260862"/>
            <a:ext cx="11011515" cy="59088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991E3F5C-CEB4-4620-B0DA-9E9ACF6A4F9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40" y="867762"/>
            <a:ext cx="11013005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99EE01-834D-DE88-EF3B-52A6D909591F}"/>
              </a:ext>
            </a:extLst>
          </p:cNvPr>
          <p:cNvSpPr/>
          <p:nvPr userDrawn="1"/>
        </p:nvSpPr>
        <p:spPr>
          <a:xfrm>
            <a:off x="28891" y="6490875"/>
            <a:ext cx="599954" cy="3636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/>
            <a:fld id="{86CB4B4D-7CA3-9044-876B-883B54F8677D}" type="slidenum">
              <a:rPr lang="fr-FR" sz="900" b="0" i="0" kern="0" smtClean="0">
                <a:solidFill>
                  <a:schemeClr val="bg1"/>
                </a:solidFill>
                <a:latin typeface="EYInterstate Light" panose="02000506000000020004" pitchFamily="2" charset="0"/>
                <a:ea typeface="Calibri Light" charset="0"/>
                <a:cs typeface="Calibri Light" charset="0"/>
                <a:sym typeface="EYInterstate Light" panose="02000506000000020004" pitchFamily="2" charset="0"/>
              </a:rPr>
              <a:pPr algn="ctr"/>
              <a:t>‹#›</a:t>
            </a:fld>
            <a:endParaRPr lang="fr-FR" sz="900" b="0" i="0">
              <a:solidFill>
                <a:schemeClr val="bg1"/>
              </a:solidFill>
              <a:latin typeface="EYInterstate Light" panose="02000506000000020004" pitchFamily="2" charset="0"/>
              <a:ea typeface="Calibri Light" charset="0"/>
              <a:cs typeface="Calibri Light" charset="0"/>
              <a:sym typeface="EYInterstate Light" panose="02000506000000020004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D58A9C-F57E-2A1B-C502-953C5B8E44A1}"/>
              </a:ext>
            </a:extLst>
          </p:cNvPr>
          <p:cNvSpPr/>
          <p:nvPr userDrawn="1"/>
        </p:nvSpPr>
        <p:spPr>
          <a:xfrm>
            <a:off x="628845" y="6572648"/>
            <a:ext cx="2835324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700" noProof="0">
                <a:solidFill>
                  <a:schemeClr val="bg1">
                    <a:lumMod val="50000"/>
                    <a:lumOff val="50000"/>
                  </a:schemeClr>
                </a:solidFill>
                <a:latin typeface="EYInterstate Light" panose="02000506000000020004" pitchFamily="2" charset="0"/>
                <a:cs typeface="Times New Roman" pitchFamily="18" charset="0"/>
                <a:sym typeface="EYInterstate Light" panose="02000506000000020004" pitchFamily="2" charset="0"/>
              </a:rPr>
              <a:t>© 2026 Propriété d'Ernst &amp; Young Consulting - Confidentiel</a:t>
            </a:r>
          </a:p>
        </p:txBody>
      </p:sp>
      <p:pic>
        <p:nvPicPr>
          <p:cNvPr id="7" name="Picture 2" descr="EY (entreprise) — Wikipédia">
            <a:extLst>
              <a:ext uri="{FF2B5EF4-FFF2-40B4-BE49-F238E27FC236}">
                <a16:creationId xmlns:a16="http://schemas.microsoft.com/office/drawing/2014/main" id="{05AE8566-E651-DFE9-E741-151879C281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5283" y="6613935"/>
            <a:ext cx="178263" cy="180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7025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Yellow frame cover with author (for dark picture)">
    <p:bg>
      <p:bgPr>
        <a:blipFill dpi="0" rotWithShape="1">
          <a:blip>
            <a:lum/>
            <a:extLs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595910" y="715992"/>
            <a:ext cx="4927845" cy="4356340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EYInterstate Light" panose="02000506000000020004" pitchFamily="2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ECACB7F-93A1-4183-A3DD-0AEE5B12F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6141" y="1906597"/>
            <a:ext cx="4547382" cy="1379529"/>
          </a:xfrm>
        </p:spPr>
        <p:txBody>
          <a:bodyPr anchor="t" anchorCtr="0"/>
          <a:lstStyle>
            <a:lvl1pPr>
              <a:lnSpc>
                <a:spcPct val="100000"/>
              </a:lnSpc>
              <a:defRPr sz="34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Title </a:t>
            </a:r>
            <a:endParaRPr lang="en-GB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4A173F3-A499-413F-B0F6-215799FF3F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6141" y="3411153"/>
            <a:ext cx="4547382" cy="429757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486AA5-CE55-49EA-94A9-857461A22F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43" y="3965936"/>
            <a:ext cx="4547381" cy="28555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399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 </a:t>
            </a:r>
            <a:endParaRPr lang="fr-FR"/>
          </a:p>
        </p:txBody>
      </p:sp>
      <p:grpSp>
        <p:nvGrpSpPr>
          <p:cNvPr id="209" name="Logo EY Global">
            <a:extLst>
              <a:ext uri="{FF2B5EF4-FFF2-40B4-BE49-F238E27FC236}">
                <a16:creationId xmlns:a16="http://schemas.microsoft.com/office/drawing/2014/main" id="{4A974765-8818-4A10-857F-706FAD65D6B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75111" y="5366795"/>
            <a:ext cx="1083444" cy="1269357"/>
            <a:chOff x="6529" y="3125"/>
            <a:chExt cx="772" cy="904"/>
          </a:xfrm>
          <a:solidFill>
            <a:schemeClr val="tx2"/>
          </a:solidFill>
        </p:grpSpPr>
        <p:sp>
          <p:nvSpPr>
            <p:cNvPr id="210" name="Freeform 5">
              <a:extLst>
                <a:ext uri="{FF2B5EF4-FFF2-40B4-BE49-F238E27FC236}">
                  <a16:creationId xmlns:a16="http://schemas.microsoft.com/office/drawing/2014/main" id="{21D078D6-BF9B-4055-A824-064EFFD772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EYInterstate Light" panose="02000506000000020004" pitchFamily="2" charset="0"/>
              </a:endParaRPr>
            </a:p>
          </p:txBody>
        </p:sp>
        <p:sp>
          <p:nvSpPr>
            <p:cNvPr id="211" name="Freeform 6">
              <a:extLst>
                <a:ext uri="{FF2B5EF4-FFF2-40B4-BE49-F238E27FC236}">
                  <a16:creationId xmlns:a16="http://schemas.microsoft.com/office/drawing/2014/main" id="{A97243D6-D1EC-48A9-93A5-8B3539F804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EYInterstate Light" panose="02000506000000020004" pitchFamily="2" charset="0"/>
              </a:endParaRPr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8AC594F-6849-1479-B6F0-44B6A93F5611}"/>
              </a:ext>
            </a:extLst>
          </p:cNvPr>
          <p:cNvSpPr/>
          <p:nvPr userDrawn="1"/>
        </p:nvSpPr>
        <p:spPr>
          <a:xfrm>
            <a:off x="6009068" y="1825522"/>
            <a:ext cx="3605049" cy="3729704"/>
          </a:xfrm>
          <a:custGeom>
            <a:avLst/>
            <a:gdLst>
              <a:gd name="connsiteX0" fmla="*/ 0 w 3606927"/>
              <a:gd name="connsiteY0" fmla="*/ 0 h 3729704"/>
              <a:gd name="connsiteX1" fmla="*/ 3606927 w 3606927"/>
              <a:gd name="connsiteY1" fmla="*/ 0 h 3729704"/>
              <a:gd name="connsiteX2" fmla="*/ 3606927 w 3606927"/>
              <a:gd name="connsiteY2" fmla="*/ 3729705 h 3729704"/>
              <a:gd name="connsiteX3" fmla="*/ 0 w 3606927"/>
              <a:gd name="connsiteY3" fmla="*/ 3729705 h 3729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927" h="3729704">
                <a:moveTo>
                  <a:pt x="0" y="0"/>
                </a:moveTo>
                <a:lnTo>
                  <a:pt x="3606927" y="0"/>
                </a:lnTo>
                <a:lnTo>
                  <a:pt x="3606927" y="3729705"/>
                </a:lnTo>
                <a:lnTo>
                  <a:pt x="0" y="3729705"/>
                </a:lnTo>
                <a:close/>
              </a:path>
            </a:pathLst>
          </a:custGeom>
          <a:noFill/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1799">
              <a:latin typeface="EYInterstate Light" panose="02000506000000020004" pitchFamily="2" charset="0"/>
            </a:endParaRPr>
          </a:p>
        </p:txBody>
      </p:sp>
      <p:grpSp>
        <p:nvGrpSpPr>
          <p:cNvPr id="6" name="Logo EY Global">
            <a:extLst>
              <a:ext uri="{FF2B5EF4-FFF2-40B4-BE49-F238E27FC236}">
                <a16:creationId xmlns:a16="http://schemas.microsoft.com/office/drawing/2014/main" id="{ECE6D261-6E89-52EE-2DF2-762C20D8804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75111" y="5366795"/>
            <a:ext cx="1083444" cy="1269357"/>
            <a:chOff x="6529" y="3125"/>
            <a:chExt cx="772" cy="904"/>
          </a:xfrm>
          <a:solidFill>
            <a:schemeClr val="tx2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C6EC742C-3A89-F7CF-8A07-9B2B66ECAF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EYInterstate Light" panose="02000506000000020004" pitchFamily="2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BCAFC929-446F-B237-082B-0B812C1EDA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EYInterstate Light" panose="0200050600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9420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79">
          <p15:clr>
            <a:srgbClr val="5ACBF0"/>
          </p15:clr>
        </p15:guide>
        <p15:guide id="2" orient="horz" pos="1200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_Quot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184" y="6471244"/>
            <a:ext cx="119063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7502" y="6471244"/>
            <a:ext cx="3084493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7644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286680" y="242891"/>
            <a:ext cx="6193144" cy="432197"/>
          </a:xfrm>
        </p:spPr>
        <p:txBody>
          <a:bodyPr>
            <a:noAutofit/>
          </a:bodyPr>
          <a:lstStyle>
            <a:lvl1pPr marL="0" indent="0">
              <a:buNone/>
              <a:defRPr sz="1649" b="1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1"/>
          </p:nvPr>
        </p:nvSpPr>
        <p:spPr>
          <a:xfrm>
            <a:off x="10435007" y="4968894"/>
            <a:ext cx="1278467" cy="323850"/>
          </a:xfrm>
        </p:spPr>
        <p:txBody>
          <a:bodyPr>
            <a:noAutofit/>
          </a:bodyPr>
          <a:lstStyle>
            <a:lvl1pPr marL="0" indent="0" algn="ctr">
              <a:buNone/>
              <a:defRPr sz="2399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789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text z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D0FE40B-7B5E-4DC1-ADD8-2A87EED875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0240" y="1131892"/>
            <a:ext cx="11011518" cy="51053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25162" marR="0" indent="-268154" algn="l" defTabSz="913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Arial" pitchFamily="34" charset="0"/>
              <a:buChar char="►"/>
              <a:tabLst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To increase or decrease list level, click on the “Home” tab, then in the “Paragraph” section, click “Increase list level” or “Decrease list level”</a:t>
            </a:r>
          </a:p>
          <a:p>
            <a:pPr lvl="1"/>
            <a:r>
              <a:rPr lang="en-US"/>
              <a:t>Shortcuts: to increase </a:t>
            </a:r>
            <a:r>
              <a:rPr lang="en-US">
                <a:sym typeface="Wingdings" panose="05000000000000000000" pitchFamily="2" charset="2"/>
              </a:rPr>
              <a:t></a:t>
            </a:r>
            <a:r>
              <a:rPr lang="en-US"/>
              <a:t> “Tab” on your keyboard</a:t>
            </a:r>
          </a:p>
          <a:p>
            <a:pPr lvl="2"/>
            <a:r>
              <a:rPr lang="en-US"/>
              <a:t>Shortcuts: to decrease </a:t>
            </a:r>
            <a:r>
              <a:rPr lang="en-US">
                <a:sym typeface="Wingdings" panose="05000000000000000000" pitchFamily="2" charset="2"/>
              </a:rPr>
              <a:t></a:t>
            </a:r>
            <a:r>
              <a:rPr lang="en-US"/>
              <a:t> “Shift tab” on your keyboard</a:t>
            </a:r>
            <a:endParaRPr lang="en-US">
              <a:sym typeface="Wingdings" panose="05000000000000000000" pitchFamily="2" charset="2"/>
            </a:endParaRP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2FCE3DB6-74B0-493A-A514-056E2F36B9C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40" y="6402456"/>
            <a:ext cx="5406193" cy="0"/>
          </a:xfrm>
          <a:prstGeom prst="line">
            <a:avLst/>
          </a:prstGeom>
          <a:noFill/>
          <a:ln w="6350" cap="rnd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85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70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55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340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425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510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5949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6799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1" noProof="0">
              <a:solidFill>
                <a:schemeClr val="bg1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85F03A-4F56-46FE-8BBD-2F736DCC6C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243" y="260862"/>
            <a:ext cx="11011515" cy="59088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27" name="Line 10">
            <a:extLst>
              <a:ext uri="{FF2B5EF4-FFF2-40B4-BE49-F238E27FC236}">
                <a16:creationId xmlns:a16="http://schemas.microsoft.com/office/drawing/2014/main" id="{2E5F648F-AF3F-43A1-A859-163206F3216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40" y="867762"/>
            <a:ext cx="11013005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02590F1-4C85-50D1-1E52-F4A794FA19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367" y="6522407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fld id="{F1BC30E3-FFE5-4B91-AA19-87A149EBB9E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5C0A49D-EDDF-35C2-B1EB-49F68F483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8795" y="6522407"/>
            <a:ext cx="980900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b="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2026 - EY Consulting</a:t>
            </a:r>
          </a:p>
        </p:txBody>
      </p:sp>
      <p:pic>
        <p:nvPicPr>
          <p:cNvPr id="3074" name="Picture 2" descr="Horizon Europe : le nouveau portail français sur le programme européen pour  la recherche et l'innovation | Campus France">
            <a:extLst>
              <a:ext uri="{FF2B5EF4-FFF2-40B4-BE49-F238E27FC236}">
                <a16:creationId xmlns:a16="http://schemas.microsoft.com/office/drawing/2014/main" id="{F5DBC806-C4B8-DE15-30B1-72F9E5B96C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0325" y="191700"/>
            <a:ext cx="952112" cy="590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767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9F678B0-7E18-462A-AF3F-DAFFEEFDF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63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F678B0-7E18-462A-AF3F-DAFFEEFDF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243" y="262804"/>
            <a:ext cx="11011515" cy="5908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Title 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243" y="1137920"/>
            <a:ext cx="11011515" cy="50723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3FA6A4-51DD-4CD3-99E3-F3619CC7AD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4640" y="6465259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fld id="{F1BC30E3-FFE5-4B91-AA19-87A149EBB9E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2178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algn="l" defTabSz="913943" rtl="0" eaLnBrk="1" latinLnBrk="0" hangingPunct="1">
        <a:lnSpc>
          <a:spcPct val="100000"/>
        </a:lnSpc>
        <a:spcBef>
          <a:spcPct val="0"/>
        </a:spcBef>
        <a:buNone/>
        <a:defRPr sz="2399" b="0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ts val="600"/>
        </a:spcBef>
        <a:buClr>
          <a:schemeClr val="accent3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625162" indent="-268154" algn="l" defTabSz="913943" rtl="0" eaLnBrk="1" latinLnBrk="0" hangingPunct="1">
        <a:spcBef>
          <a:spcPts val="500"/>
        </a:spcBef>
        <a:buClr>
          <a:schemeClr val="accent3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2pPr>
      <a:lvl3pPr marL="896490" indent="-271327" algn="l" defTabSz="913943" rtl="0" eaLnBrk="1" latinLnBrk="0" hangingPunct="1">
        <a:spcBef>
          <a:spcPts val="400"/>
        </a:spcBef>
        <a:buClr>
          <a:schemeClr val="accent3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3pPr>
      <a:lvl4pPr marL="1077374" indent="-180885" algn="l" defTabSz="913943" rtl="0" eaLnBrk="1" latinLnBrk="0" hangingPunct="1">
        <a:spcBef>
          <a:spcPts val="400"/>
        </a:spcBef>
        <a:buClr>
          <a:schemeClr val="accent3"/>
        </a:buClr>
        <a:buSzPct val="70000"/>
        <a:buFont typeface="Arial" pitchFamily="34" charset="0"/>
        <a:buChar char="►"/>
        <a:defRPr sz="1099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4pPr>
      <a:lvl5pPr marL="1258259" indent="-180885" algn="l" defTabSz="913943" rtl="0" eaLnBrk="1" latinLnBrk="0" hangingPunct="1">
        <a:spcBef>
          <a:spcPts val="300"/>
        </a:spcBef>
        <a:buClr>
          <a:schemeClr val="accent3"/>
        </a:buClr>
        <a:buSzPct val="70000"/>
        <a:buFont typeface="Arial" pitchFamily="34" charset="0"/>
        <a:buChar char="►"/>
        <a:tabLst/>
        <a:defRPr sz="1049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156">
          <p15:clr>
            <a:srgbClr val="F26B43"/>
          </p15:clr>
        </p15:guide>
        <p15:guide id="3" orient="horz" pos="164">
          <p15:clr>
            <a:srgbClr val="F26B43"/>
          </p15:clr>
        </p15:guide>
        <p15:guide id="6" pos="7312">
          <p15:clr>
            <a:srgbClr val="F26B43"/>
          </p15:clr>
        </p15:guide>
        <p15:guide id="7" pos="372">
          <p15:clr>
            <a:srgbClr val="F26B43"/>
          </p15:clr>
        </p15:guide>
        <p15:guide id="8" pos="3842">
          <p15:clr>
            <a:srgbClr val="F26B43"/>
          </p15:clr>
        </p15:guide>
        <p15:guide id="9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anne-flore.rouillon@metropolegrandparis.fr" TargetMode="External"/><Relationship Id="rId5" Type="http://schemas.openxmlformats.org/officeDocument/2006/relationships/hyperlink" Target="mailto:camille.richard@metropolegrandparis.fr" TargetMode="External"/><Relationship Id="rId4" Type="http://schemas.openxmlformats.org/officeDocument/2006/relationships/hyperlink" Target="mailto:helene.rambert@metropolegrandparis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8F557-DF52-8CBC-59FB-A627E242C7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B1212C1-A4ED-F828-169D-32B110976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244" y="148700"/>
            <a:ext cx="9820093" cy="612049"/>
          </a:xfrm>
        </p:spPr>
        <p:txBody>
          <a:bodyPr/>
          <a:lstStyle/>
          <a:p>
            <a:r>
              <a:rPr lang="fr-FR" sz="1900" b="1">
                <a:latin typeface="EYInterstate Light" panose="02000506000000020004" pitchFamily="2" charset="0"/>
              </a:rPr>
              <a:t>Call for </a:t>
            </a:r>
            <a:r>
              <a:rPr lang="fr-FR" sz="1900" b="1" err="1">
                <a:latin typeface="EYInterstate Light" panose="02000506000000020004" pitchFamily="2" charset="0"/>
              </a:rPr>
              <a:t>Partners</a:t>
            </a:r>
            <a:r>
              <a:rPr lang="fr-FR" sz="1900" b="1">
                <a:latin typeface="EYInterstate Light" panose="02000506000000020004" pitchFamily="2" charset="0"/>
              </a:rPr>
              <a:t> – Métropole du Grand Paris (Horizon Europe 2026 Multimodal </a:t>
            </a:r>
            <a:r>
              <a:rPr lang="fr-FR" sz="1900" b="1" err="1">
                <a:latin typeface="EYInterstate Light" panose="02000506000000020004" pitchFamily="2" charset="0"/>
              </a:rPr>
              <a:t>freight</a:t>
            </a:r>
            <a:r>
              <a:rPr lang="fr-FR" sz="1900" b="1">
                <a:latin typeface="EYInterstate Light" panose="02000506000000020004" pitchFamily="2" charset="0"/>
              </a:rPr>
              <a:t> transport)</a:t>
            </a:r>
          </a:p>
        </p:txBody>
      </p:sp>
      <p:sp>
        <p:nvSpPr>
          <p:cNvPr id="29" name="ZoneTexte 11">
            <a:extLst>
              <a:ext uri="{FF2B5EF4-FFF2-40B4-BE49-F238E27FC236}">
                <a16:creationId xmlns:a16="http://schemas.microsoft.com/office/drawing/2014/main" id="{6CD9B09A-CCF6-F523-0D32-579799E3E6B3}"/>
              </a:ext>
            </a:extLst>
          </p:cNvPr>
          <p:cNvSpPr txBox="1"/>
          <p:nvPr/>
        </p:nvSpPr>
        <p:spPr>
          <a:xfrm>
            <a:off x="6434666" y="1281416"/>
            <a:ext cx="5434245" cy="338554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19E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he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Métropole du Grand Paris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a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nter-municipal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uthority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bringing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ogether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ity of Paris 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nd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129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urround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municipalitie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represent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ver 7 millio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nhabitant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 It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lay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a key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role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i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oordinat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public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olicie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at the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metropolita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cale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articularl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in the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ield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f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urba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velopment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mobility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environment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an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economic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velopment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19E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n the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ield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f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logistic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an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mobilit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the Métropole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ctivel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nvolved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i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upport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ustainable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urba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logistic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nd the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velopment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f multimodal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reight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ransport solution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hrough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Entente Axe Seine 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– a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ooperation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ramework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with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Métropole de Rouen Normandie and Le Havre Seine Métropole –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t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ontribute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o the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oordination of stakeholders and the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velopment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f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roject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lo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Seine corridor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rom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Paris to the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ea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19E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he Métropole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engaged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i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acilitat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transitio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oward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more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ustainable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reight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ystem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by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romoting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ntegratio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f rail an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nland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waterway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upporting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local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uthoritie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an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foster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ooperatio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betwee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public an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rivate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stakeholders 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t territorial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level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34FFAB-08EB-456A-B96C-7DFEB0076F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2226" y="6299872"/>
            <a:ext cx="1211459" cy="48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2519E023-4370-ED4C-C93E-65BFC3095E9C}"/>
              </a:ext>
            </a:extLst>
          </p:cNvPr>
          <p:cNvSpPr txBox="1">
            <a:spLocks/>
          </p:cNvSpPr>
          <p:nvPr/>
        </p:nvSpPr>
        <p:spPr>
          <a:xfrm>
            <a:off x="6424976" y="947977"/>
            <a:ext cx="5443936" cy="28518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vert="horz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Regular" panose="02000503020000020004" pitchFamily="2" charset="0"/>
                <a:ea typeface="+mj-ea"/>
                <a:cs typeface="Arial" pitchFamily="34" charset="0"/>
              </a:rPr>
              <a:t>About the Organisation: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Regular" panose="02000503020000020004" pitchFamily="2" charset="0"/>
                <a:ea typeface="+mj-ea"/>
                <a:cs typeface="Arial" pitchFamily="34" charset="0"/>
              </a:rPr>
              <a:t>Rol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Regular" panose="02000503020000020004" pitchFamily="2" charset="0"/>
                <a:ea typeface="+mj-ea"/>
                <a:cs typeface="Arial" pitchFamily="34" charset="0"/>
              </a:rPr>
              <a:t> and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Regular" panose="02000503020000020004" pitchFamily="2" charset="0"/>
                <a:ea typeface="+mj-ea"/>
                <a:cs typeface="Arial" pitchFamily="34" charset="0"/>
              </a:rPr>
              <a:t>Activities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Regular" panose="02000503020000020004" pitchFamily="2" charset="0"/>
                <a:ea typeface="+mj-ea"/>
                <a:cs typeface="Arial" pitchFamily="34" charset="0"/>
              </a:rPr>
              <a:t> for the Call</a:t>
            </a:r>
          </a:p>
        </p:txBody>
      </p:sp>
      <p:sp>
        <p:nvSpPr>
          <p:cNvPr id="25" name="Titre 4">
            <a:extLst>
              <a:ext uri="{FF2B5EF4-FFF2-40B4-BE49-F238E27FC236}">
                <a16:creationId xmlns:a16="http://schemas.microsoft.com/office/drawing/2014/main" id="{12D5D3C3-3A2A-D25D-600A-B81B7179D741}"/>
              </a:ext>
            </a:extLst>
          </p:cNvPr>
          <p:cNvSpPr txBox="1">
            <a:spLocks/>
          </p:cNvSpPr>
          <p:nvPr/>
        </p:nvSpPr>
        <p:spPr>
          <a:xfrm>
            <a:off x="256030" y="5165058"/>
            <a:ext cx="6030651" cy="246672"/>
          </a:xfrm>
          <a:prstGeom prst="rect">
            <a:avLst/>
          </a:prstGeom>
          <a:solidFill>
            <a:schemeClr val="tx1"/>
          </a:solidFill>
          <a:ln>
            <a:solidFill>
              <a:srgbClr val="002060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R="0" lvl="0" indent="0" algn="ctr" defTabSz="90209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99" b="1" i="0" u="none" strike="noStrike" kern="0" cap="none" spc="0" normalizeH="0" baseline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90209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99" b="1" i="0" u="none" strike="noStrike" kern="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Experience</a:t>
            </a:r>
            <a:r>
              <a:rPr kumimoji="0" lang="fr-FR" sz="1199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 </a:t>
            </a:r>
            <a:r>
              <a:rPr kumimoji="0" lang="fr-FR" sz="1199" b="1" i="0" u="none" strike="noStrike" kern="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regarding</a:t>
            </a:r>
            <a:r>
              <a:rPr kumimoji="0" lang="fr-FR" sz="1199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 participation in an EU </a:t>
            </a:r>
            <a:r>
              <a:rPr kumimoji="0" lang="fr-FR" sz="1199" b="1" i="0" u="none" strike="noStrike" kern="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funded</a:t>
            </a:r>
            <a:r>
              <a:rPr kumimoji="0" lang="fr-FR" sz="1199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 </a:t>
            </a:r>
            <a:r>
              <a:rPr kumimoji="0" lang="fr-FR" sz="1199" b="1" i="0" u="none" strike="noStrike" kern="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YInterstate Regular"/>
                <a:cs typeface="Calibri" panose="020F0502020204030204" pitchFamily="34" charset="0"/>
              </a:rPr>
              <a:t>project</a:t>
            </a:r>
            <a:endParaRPr kumimoji="0" lang="fr-FR" sz="1199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EYInterstate Regular"/>
              <a:cs typeface="Calibri" panose="020F0502020204030204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0033AD1-10E0-83E9-562F-4AEBEC3DD5FB}"/>
              </a:ext>
            </a:extLst>
          </p:cNvPr>
          <p:cNvSpPr txBox="1"/>
          <p:nvPr/>
        </p:nvSpPr>
        <p:spPr>
          <a:xfrm>
            <a:off x="256030" y="5468875"/>
            <a:ext cx="60306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0519E"/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he unit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tself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has not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irectl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articipated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in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European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roject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;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however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, the Métropole du Grand Paris has a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dicated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Europea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ffair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unit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that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oordinate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the cross-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utt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mplementation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of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roject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acros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it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variou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partment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Several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Horizo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project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are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currently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ongoing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in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other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department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  <a:sym typeface="Helvetica Neue Medium"/>
              </a:rPr>
              <a:t>.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7BAD82A1-0309-4C50-FF62-3F6487B95D96}"/>
              </a:ext>
            </a:extLst>
          </p:cNvPr>
          <p:cNvGrpSpPr/>
          <p:nvPr/>
        </p:nvGrpSpPr>
        <p:grpSpPr>
          <a:xfrm>
            <a:off x="6434666" y="4750738"/>
            <a:ext cx="5434245" cy="1537571"/>
            <a:chOff x="5982530" y="4586215"/>
            <a:chExt cx="5637969" cy="1614796"/>
          </a:xfrm>
        </p:grpSpPr>
        <p:sp>
          <p:nvSpPr>
            <p:cNvPr id="2" name="Rectangle : coins arrondis 1">
              <a:extLst>
                <a:ext uri="{FF2B5EF4-FFF2-40B4-BE49-F238E27FC236}">
                  <a16:creationId xmlns:a16="http://schemas.microsoft.com/office/drawing/2014/main" id="{786E174F-4DDB-522A-43A5-CF1C66392A7A}"/>
                </a:ext>
              </a:extLst>
            </p:cNvPr>
            <p:cNvSpPr/>
            <p:nvPr/>
          </p:nvSpPr>
          <p:spPr>
            <a:xfrm>
              <a:off x="5982530" y="4670855"/>
              <a:ext cx="5637969" cy="1530156"/>
            </a:xfrm>
            <a:prstGeom prst="roundRect">
              <a:avLst>
                <a:gd name="adj" fmla="val 10202"/>
              </a:avLst>
            </a:pr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05B07F70-0562-2BE4-3FA3-DB0E9052D5C2}"/>
                </a:ext>
              </a:extLst>
            </p:cNvPr>
            <p:cNvSpPr txBox="1"/>
            <p:nvPr/>
          </p:nvSpPr>
          <p:spPr>
            <a:xfrm>
              <a:off x="6151194" y="4586215"/>
              <a:ext cx="4641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1" algn="ctr" defTabSz="1019175">
                <a:spcBef>
                  <a:spcPts val="600"/>
                </a:spcBef>
                <a:buClr>
                  <a:srgbClr val="E05A4F"/>
                </a:buClr>
                <a:buSzPct val="70000"/>
                <a:defRPr/>
              </a:pPr>
              <a:r>
                <a:rPr lang="fr-FR" sz="1200" b="1" kern="0">
                  <a:solidFill>
                    <a:srgbClr val="FFFFFF"/>
                  </a:solidFill>
                  <a:highlight>
                    <a:srgbClr val="000080"/>
                  </a:highlight>
                  <a:latin typeface="EYInterstate Regular"/>
                  <a:cs typeface="Arial"/>
                  <a:sym typeface="Arial"/>
                </a:rPr>
                <a:t>Contact </a:t>
              </a:r>
              <a:r>
                <a:rPr lang="fr-FR" sz="1200" b="1" kern="0" err="1">
                  <a:solidFill>
                    <a:srgbClr val="FFFFFF"/>
                  </a:solidFill>
                  <a:highlight>
                    <a:srgbClr val="000080"/>
                  </a:highlight>
                  <a:latin typeface="EYInterstate Regular"/>
                  <a:cs typeface="Arial"/>
                  <a:sym typeface="Arial"/>
                </a:rPr>
                <a:t>details</a:t>
              </a:r>
              <a:endPara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80"/>
                </a:highlight>
                <a:uLnTx/>
                <a:uFillTx/>
                <a:latin typeface="EYInterstate Regular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0FF7F2E1-FF18-5F7F-2EFE-7925F87BFA16}"/>
                </a:ext>
              </a:extLst>
            </p:cNvPr>
            <p:cNvSpPr txBox="1"/>
            <p:nvPr/>
          </p:nvSpPr>
          <p:spPr>
            <a:xfrm>
              <a:off x="6126008" y="4830639"/>
              <a:ext cx="5351012" cy="12105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just" fontAlgn="base">
                <a:spcBef>
                  <a:spcPts val="150"/>
                </a:spcBef>
                <a:spcAft>
                  <a:spcPts val="150"/>
                </a:spcAft>
                <a:buClr>
                  <a:srgbClr val="00519E"/>
                </a:buClr>
                <a:buSzPct val="100000"/>
                <a:defRPr/>
              </a:pPr>
              <a:r>
                <a: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  <a:sym typeface="Helvetica Neue Medium"/>
                </a:rPr>
                <a:t>•  </a:t>
              </a:r>
              <a:r>
                <a:rPr kumimoji="0" lang="fr-FR" sz="1200" b="1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Hélène Rambert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, Head of the Pôle Logistique Urbaine Durable at Métropole du Grand Paris : </a:t>
              </a:r>
              <a:r>
                <a:rPr lang="en-US" sz="1200" u="sng">
                  <a:latin typeface="EYInterstate Light" panose="02000506000000020004" pitchFamily="2" charset="0"/>
                  <a:hlinkClick r:id="rId4"/>
                </a:rPr>
                <a:t>helene.rambert@metropolegrandparis.fr</a:t>
              </a:r>
              <a:r>
                <a:rPr lang="en-US" sz="1200">
                  <a:latin typeface="EYInterstate Light" panose="02000506000000020004" pitchFamily="2" charset="0"/>
                </a:rPr>
                <a:t> </a:t>
              </a:r>
              <a:endParaRPr kumimoji="0" lang="fr-FR" sz="120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sym typeface="Helvetica Neue Medium"/>
              </a:endParaRPr>
            </a:p>
            <a:p>
              <a:pPr lvl="0" algn="just" fontAlgn="base">
                <a:spcBef>
                  <a:spcPts val="150"/>
                </a:spcBef>
                <a:spcAft>
                  <a:spcPts val="150"/>
                </a:spcAft>
                <a:buClr>
                  <a:srgbClr val="00519E"/>
                </a:buClr>
                <a:buSzPct val="100000"/>
                <a:defRPr/>
              </a:pP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•  </a:t>
              </a:r>
              <a:r>
                <a:rPr kumimoji="0" lang="fr-FR" sz="1200" b="1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Camille Richard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, </a:t>
              </a:r>
              <a:r>
                <a:rPr kumimoji="0" lang="fr-FR" sz="1200" u="none" strike="noStrike" kern="0" cap="none" spc="0" normalizeH="0" baseline="0" noProof="0" err="1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Sustainable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 Urban </a:t>
              </a:r>
              <a:r>
                <a:rPr kumimoji="0" lang="fr-FR" sz="1200" u="none" strike="noStrike" kern="0" cap="none" spc="0" normalizeH="0" baseline="0" noProof="0" err="1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Logistics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 Project Officer at Métropole du Grand Paris : </a:t>
              </a:r>
              <a:r>
                <a:rPr lang="en-US" sz="1200" u="sng">
                  <a:latin typeface="EYInterstate Light" panose="02000506000000020004" pitchFamily="2" charset="0"/>
                  <a:hlinkClick r:id="rId5"/>
                </a:rPr>
                <a:t>camille.richard@metropolegrandparis.fr</a:t>
              </a:r>
              <a:r>
                <a:rPr lang="en-US" sz="1200">
                  <a:latin typeface="EYInterstate Light" panose="02000506000000020004" pitchFamily="2" charset="0"/>
                </a:rPr>
                <a:t> 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 </a:t>
              </a:r>
            </a:p>
            <a:p>
              <a:pPr lvl="0" algn="just" fontAlgn="base">
                <a:spcBef>
                  <a:spcPts val="150"/>
                </a:spcBef>
                <a:spcAft>
                  <a:spcPts val="150"/>
                </a:spcAft>
                <a:buClr>
                  <a:srgbClr val="00519E"/>
                </a:buClr>
                <a:buSzPct val="100000"/>
                <a:defRPr/>
              </a:pP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•  </a:t>
              </a:r>
              <a:r>
                <a:rPr kumimoji="0" lang="fr-FR" sz="1200" b="1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Anne Flore Rouillon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, Territorial </a:t>
              </a:r>
              <a:r>
                <a:rPr kumimoji="0" lang="fr-FR" sz="1200" u="none" strike="noStrike" kern="0" cap="none" spc="0" normalizeH="0" baseline="0" noProof="0" err="1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Cooperation</a:t>
              </a:r>
              <a:r>
                <a:rPr kumimoji="0" lang="fr-FR" sz="120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sym typeface="Helvetica Neue Medium"/>
                </a:rPr>
                <a:t> Project Officer at Métropole du Grand Paris : </a:t>
              </a:r>
              <a:r>
                <a:rPr lang="fr-FR" sz="1200" u="sng">
                  <a:latin typeface="EYInterstate Light" panose="02000506000000020004" pitchFamily="2" charset="0"/>
                  <a:hlinkClick r:id="rId6" tooltip="mailto:anne-flore.rouillon@metropolegrandparis.fr"/>
                </a:rPr>
                <a:t>anne-flore.rouillon@metropolegrandparis.fr</a:t>
              </a:r>
              <a:r>
                <a:rPr lang="fr-FR" sz="1200">
                  <a:latin typeface="EYInterstate Light" panose="02000506000000020004" pitchFamily="2" charset="0"/>
                </a:rPr>
                <a:t> </a:t>
              </a:r>
              <a:endParaRPr kumimoji="0" lang="fr-FR" sz="120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sym typeface="Helvetica Neue Medium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CA8A8F75-12CD-5688-7684-4DDFA638946C}"/>
              </a:ext>
            </a:extLst>
          </p:cNvPr>
          <p:cNvSpPr/>
          <p:nvPr/>
        </p:nvSpPr>
        <p:spPr bwMode="auto">
          <a:xfrm>
            <a:off x="256030" y="947977"/>
            <a:ext cx="6030651" cy="4115090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019175" fontAlgn="base">
              <a:spcBef>
                <a:spcPct val="0"/>
              </a:spcBef>
              <a:spcAft>
                <a:spcPts val="600"/>
              </a:spcAft>
            </a:pPr>
            <a:r>
              <a:rPr lang="fr-FR" sz="1200" b="1">
                <a:solidFill>
                  <a:schemeClr val="bg2"/>
                </a:solidFill>
                <a:highlight>
                  <a:srgbClr val="000080"/>
                </a:highlight>
              </a:rPr>
              <a:t>Project </a:t>
            </a:r>
            <a:r>
              <a:rPr lang="fr-FR" sz="1200" b="1" err="1">
                <a:solidFill>
                  <a:schemeClr val="bg2"/>
                </a:solidFill>
                <a:highlight>
                  <a:srgbClr val="000080"/>
                </a:highlight>
              </a:rPr>
              <a:t>idea</a:t>
            </a:r>
            <a:r>
              <a:rPr lang="fr-FR" sz="1200">
                <a:solidFill>
                  <a:schemeClr val="bg2"/>
                </a:solidFill>
                <a:highlight>
                  <a:srgbClr val="000080"/>
                </a:highlight>
              </a:rPr>
              <a:t> </a:t>
            </a:r>
          </a:p>
          <a:p>
            <a:pPr marL="171450" indent="-171450" defTabSz="1019175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fr-FR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Call of </a:t>
            </a:r>
            <a:r>
              <a:rPr kumimoji="0" lang="fr-FR" sz="1200" b="1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interest</a:t>
            </a:r>
            <a:r>
              <a:rPr kumimoji="0" lang="fr-FR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: Increasing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competitiveness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and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resilience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of multimodal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freight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transport and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logistics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for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competitive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supply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</a:t>
            </a:r>
            <a:r>
              <a:rPr kumimoji="0" lang="fr-FR" sz="1200" b="0" i="0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chains</a:t>
            </a:r>
            <a:r>
              <a:rPr kumimoji="0" lang="fr-FR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HORIZON-CL5-2026-10-D6-06</a:t>
            </a:r>
          </a:p>
          <a:p>
            <a:pPr marL="171450" indent="-171450" defTabSz="1019175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fr-FR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Project description : </a:t>
            </a:r>
            <a:r>
              <a:rPr kumimoji="0" lang="en-US" sz="1200" i="1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The </a:t>
            </a:r>
            <a:r>
              <a:rPr kumimoji="0" lang="en-US" sz="1200" i="1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Métropole</a:t>
            </a:r>
            <a:r>
              <a:rPr kumimoji="0" lang="en-US" sz="1200" i="1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wishes to join a project as a partner in order to position itself as a pilot site for: 1/ the large-scale demonstration of a digital solution or interoperable tool dedicated to shifting freight transport from road to rail or inland waterways; 2/ assessing its value and impacts on its territory, in particular the environmental gains. 3/ The </a:t>
            </a:r>
            <a:r>
              <a:rPr kumimoji="0" lang="en-US" sz="1200" i="1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Métropole</a:t>
            </a:r>
            <a:r>
              <a:rPr kumimoji="0" lang="en-US" sz="1200" i="1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will be able to </a:t>
            </a:r>
            <a:r>
              <a:rPr kumimoji="0" lang="en-US" sz="1200" i="1" u="none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capitalise</a:t>
            </a:r>
            <a:r>
              <a:rPr kumimoji="0" lang="en-US" sz="1200" i="1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on the lessons learned from the project in order to formulate recommendations for the evolution of the regulatory framework, with a view to accelerating the adoption of multimodal transport.</a:t>
            </a:r>
            <a:endParaRPr kumimoji="0" lang="fr-FR" sz="1200" b="1" i="1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</a:endParaRPr>
          </a:p>
          <a:p>
            <a:pPr marL="171450" indent="-171450" defTabSz="1019175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200" b="1">
                <a:solidFill>
                  <a:schemeClr val="tx2"/>
                </a:solidFill>
              </a:rPr>
              <a:t>5 keywords to </a:t>
            </a:r>
            <a:r>
              <a:rPr lang="fr-FR" sz="1200" b="1" err="1">
                <a:solidFill>
                  <a:schemeClr val="tx2"/>
                </a:solidFill>
              </a:rPr>
              <a:t>describe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 b="1" err="1">
                <a:solidFill>
                  <a:schemeClr val="tx2"/>
                </a:solidFill>
              </a:rPr>
              <a:t>your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 b="1" err="1">
                <a:solidFill>
                  <a:schemeClr val="tx2"/>
                </a:solidFill>
              </a:rPr>
              <a:t>project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 b="1" err="1">
                <a:solidFill>
                  <a:schemeClr val="tx2"/>
                </a:solidFill>
              </a:rPr>
              <a:t>idea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>
                <a:solidFill>
                  <a:schemeClr val="tx2"/>
                </a:solidFill>
              </a:rPr>
              <a:t>: </a:t>
            </a:r>
            <a:r>
              <a:rPr lang="fr-FR" sz="1200" err="1">
                <a:solidFill>
                  <a:schemeClr val="tx2"/>
                </a:solidFill>
              </a:rPr>
              <a:t>Inland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waterway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logistics</a:t>
            </a:r>
            <a:r>
              <a:rPr lang="fr-FR" sz="1200">
                <a:solidFill>
                  <a:schemeClr val="tx2"/>
                </a:solidFill>
              </a:rPr>
              <a:t>, </a:t>
            </a:r>
            <a:r>
              <a:rPr lang="fr-FR" sz="1200" err="1">
                <a:solidFill>
                  <a:schemeClr val="tx2"/>
                </a:solidFill>
              </a:rPr>
              <a:t>development</a:t>
            </a:r>
            <a:r>
              <a:rPr lang="fr-FR" sz="1200">
                <a:solidFill>
                  <a:schemeClr val="tx2"/>
                </a:solidFill>
              </a:rPr>
              <a:t> of digital solutions, </a:t>
            </a:r>
            <a:r>
              <a:rPr lang="fr-FR" sz="1200" err="1">
                <a:solidFill>
                  <a:schemeClr val="tx2"/>
                </a:solidFill>
              </a:rPr>
              <a:t>traffic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safety</a:t>
            </a:r>
            <a:r>
              <a:rPr lang="fr-FR" sz="1200">
                <a:solidFill>
                  <a:schemeClr val="tx2"/>
                </a:solidFill>
              </a:rPr>
              <a:t>, </a:t>
            </a:r>
            <a:r>
              <a:rPr lang="fr-FR" sz="1200" err="1">
                <a:solidFill>
                  <a:schemeClr val="tx2"/>
                </a:solidFill>
              </a:rPr>
              <a:t>inland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waterway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traffic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knowledge</a:t>
            </a:r>
            <a:r>
              <a:rPr lang="fr-FR" sz="1200">
                <a:solidFill>
                  <a:schemeClr val="tx2"/>
                </a:solidFill>
              </a:rPr>
              <a:t> and monitoring</a:t>
            </a:r>
          </a:p>
          <a:p>
            <a:pPr marL="171450" indent="-171450" defTabSz="1019175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fr-FR" sz="1200" b="1" i="0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Your</a:t>
            </a:r>
            <a:r>
              <a:rPr kumimoji="0" lang="fr-FR" sz="1200" b="1" i="0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</a:t>
            </a:r>
            <a:r>
              <a:rPr kumimoji="0" lang="fr-FR" sz="1200" b="1" i="0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offered</a:t>
            </a:r>
            <a:r>
              <a:rPr kumimoji="0" lang="fr-FR" sz="1200" b="1" i="0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 contribution to the </a:t>
            </a:r>
            <a:r>
              <a:rPr kumimoji="0" lang="fr-FR" sz="1200" b="1" i="0" strike="noStrike" cap="none" normalizeH="0" baseline="0" err="1">
                <a:ln>
                  <a:noFill/>
                </a:ln>
                <a:solidFill>
                  <a:schemeClr val="tx2"/>
                </a:solidFill>
                <a:effectLst/>
                <a:latin typeface="+mn-lt"/>
              </a:rPr>
              <a:t>pr</a:t>
            </a:r>
            <a:r>
              <a:rPr lang="fr-FR" sz="1200" b="1" err="1">
                <a:solidFill>
                  <a:schemeClr val="tx2"/>
                </a:solidFill>
              </a:rPr>
              <a:t>oject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>
                <a:solidFill>
                  <a:schemeClr val="tx2"/>
                </a:solidFill>
              </a:rPr>
              <a:t>: A large-</a:t>
            </a:r>
            <a:r>
              <a:rPr lang="fr-FR" sz="1200" err="1">
                <a:solidFill>
                  <a:schemeClr val="tx2"/>
                </a:solidFill>
              </a:rPr>
              <a:t>scale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testing</a:t>
            </a:r>
            <a:r>
              <a:rPr lang="fr-FR" sz="1200">
                <a:solidFill>
                  <a:schemeClr val="tx2"/>
                </a:solidFill>
              </a:rPr>
              <a:t> and </a:t>
            </a:r>
            <a:r>
              <a:rPr lang="fr-FR" sz="1200" err="1">
                <a:solidFill>
                  <a:schemeClr val="tx2"/>
                </a:solidFill>
              </a:rPr>
              <a:t>demonstration</a:t>
            </a:r>
            <a:r>
              <a:rPr lang="fr-FR" sz="1200">
                <a:solidFill>
                  <a:schemeClr val="tx2"/>
                </a:solidFill>
              </a:rPr>
              <a:t> area, </a:t>
            </a:r>
            <a:r>
              <a:rPr lang="fr-FR" sz="1200" err="1">
                <a:solidFill>
                  <a:schemeClr val="tx2"/>
                </a:solidFill>
              </a:rPr>
              <a:t>with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extended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outreach</a:t>
            </a:r>
            <a:r>
              <a:rPr lang="fr-FR" sz="1200">
                <a:solidFill>
                  <a:schemeClr val="tx2"/>
                </a:solidFill>
              </a:rPr>
              <a:t> </a:t>
            </a:r>
            <a:r>
              <a:rPr lang="fr-FR" sz="1200" err="1">
                <a:solidFill>
                  <a:schemeClr val="tx2"/>
                </a:solidFill>
              </a:rPr>
              <a:t>across</a:t>
            </a:r>
            <a:r>
              <a:rPr lang="fr-FR" sz="1200">
                <a:solidFill>
                  <a:schemeClr val="tx2"/>
                </a:solidFill>
              </a:rPr>
              <a:t> the Seine Basin (« </a:t>
            </a:r>
            <a:r>
              <a:rPr lang="fr-FR" sz="1200" i="1">
                <a:solidFill>
                  <a:schemeClr val="tx2"/>
                </a:solidFill>
              </a:rPr>
              <a:t>Bassin de la Seine </a:t>
            </a:r>
            <a:r>
              <a:rPr lang="fr-FR" sz="1200">
                <a:solidFill>
                  <a:schemeClr val="tx2"/>
                </a:solidFill>
              </a:rPr>
              <a:t>») </a:t>
            </a:r>
            <a:r>
              <a:rPr lang="fr-FR" sz="1200" err="1">
                <a:solidFill>
                  <a:schemeClr val="tx2"/>
                </a:solidFill>
              </a:rPr>
              <a:t>through</a:t>
            </a:r>
            <a:r>
              <a:rPr lang="fr-FR" sz="1200">
                <a:solidFill>
                  <a:schemeClr val="tx2"/>
                </a:solidFill>
              </a:rPr>
              <a:t> partnerships </a:t>
            </a:r>
            <a:r>
              <a:rPr lang="fr-FR" sz="1200" err="1">
                <a:solidFill>
                  <a:schemeClr val="tx2"/>
                </a:solidFill>
              </a:rPr>
              <a:t>with</a:t>
            </a:r>
            <a:r>
              <a:rPr lang="fr-FR" sz="1200">
                <a:solidFill>
                  <a:schemeClr val="tx2"/>
                </a:solidFill>
              </a:rPr>
              <a:t> the 16 local </a:t>
            </a:r>
            <a:r>
              <a:rPr lang="fr-FR" sz="1200" err="1">
                <a:solidFill>
                  <a:schemeClr val="tx2"/>
                </a:solidFill>
              </a:rPr>
              <a:t>authorities</a:t>
            </a:r>
            <a:r>
              <a:rPr lang="fr-FR" sz="1200">
                <a:solidFill>
                  <a:schemeClr val="tx2"/>
                </a:solidFill>
              </a:rPr>
              <a:t> of the Entente Axe Seine.</a:t>
            </a:r>
          </a:p>
          <a:p>
            <a:pPr marL="171450" indent="-171450" defTabSz="1019175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200" b="1" err="1">
                <a:solidFill>
                  <a:schemeClr val="tx2"/>
                </a:solidFill>
              </a:rPr>
              <a:t>Your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 b="1" err="1">
                <a:solidFill>
                  <a:schemeClr val="tx2"/>
                </a:solidFill>
              </a:rPr>
              <a:t>offered</a:t>
            </a:r>
            <a:r>
              <a:rPr lang="fr-FR" sz="1200" b="1">
                <a:solidFill>
                  <a:schemeClr val="tx2"/>
                </a:solidFill>
              </a:rPr>
              <a:t> </a:t>
            </a:r>
            <a:r>
              <a:rPr lang="fr-FR" sz="1200" b="1" err="1">
                <a:solidFill>
                  <a:schemeClr val="tx2"/>
                </a:solidFill>
              </a:rPr>
              <a:t>role</a:t>
            </a:r>
            <a:r>
              <a:rPr lang="fr-FR" sz="1200" b="1">
                <a:solidFill>
                  <a:schemeClr val="tx2"/>
                </a:solidFill>
              </a:rPr>
              <a:t> (</a:t>
            </a:r>
            <a:r>
              <a:rPr lang="fr-FR" sz="1200" b="1" err="1">
                <a:solidFill>
                  <a:schemeClr val="tx2"/>
                </a:solidFill>
              </a:rPr>
              <a:t>coordinator</a:t>
            </a:r>
            <a:r>
              <a:rPr lang="fr-FR" sz="1200" b="1">
                <a:solidFill>
                  <a:schemeClr val="tx2"/>
                </a:solidFill>
              </a:rPr>
              <a:t>, </a:t>
            </a:r>
            <a:r>
              <a:rPr lang="fr-FR" sz="1200" b="1" err="1">
                <a:solidFill>
                  <a:schemeClr val="tx2"/>
                </a:solidFill>
              </a:rPr>
              <a:t>work</a:t>
            </a:r>
            <a:r>
              <a:rPr lang="fr-FR" sz="1200" b="1">
                <a:solidFill>
                  <a:schemeClr val="tx2"/>
                </a:solidFill>
              </a:rPr>
              <a:t> package leader or </a:t>
            </a:r>
            <a:r>
              <a:rPr lang="fr-FR" sz="1200" b="1" err="1">
                <a:solidFill>
                  <a:schemeClr val="tx2"/>
                </a:solidFill>
              </a:rPr>
              <a:t>partner</a:t>
            </a:r>
            <a:r>
              <a:rPr lang="fr-FR" sz="1200" b="1">
                <a:solidFill>
                  <a:schemeClr val="tx2"/>
                </a:solidFill>
              </a:rPr>
              <a:t>) </a:t>
            </a:r>
            <a:r>
              <a:rPr lang="fr-FR" sz="1200">
                <a:solidFill>
                  <a:schemeClr val="tx2"/>
                </a:solidFill>
              </a:rPr>
              <a:t>: Partner/</a:t>
            </a:r>
            <a:r>
              <a:rPr lang="fr-FR" sz="1200" err="1">
                <a:solidFill>
                  <a:schemeClr val="tx2"/>
                </a:solidFill>
              </a:rPr>
              <a:t>workpackage</a:t>
            </a:r>
            <a:r>
              <a:rPr lang="fr-FR" sz="1200">
                <a:solidFill>
                  <a:schemeClr val="tx2"/>
                </a:solidFill>
              </a:rPr>
              <a:t> leader</a:t>
            </a:r>
            <a:endParaRPr kumimoji="0" lang="fr-FR" sz="12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7890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Y_2020_Customscolors_AC">
  <a:themeElements>
    <a:clrScheme name="EY DIGITAL WHITE 2020">
      <a:dk1>
        <a:srgbClr val="F6F6FA"/>
      </a:dk1>
      <a:lt1>
        <a:srgbClr val="2E2E38"/>
      </a:lt1>
      <a:dk2>
        <a:srgbClr val="2E2E38"/>
      </a:dk2>
      <a:lt2>
        <a:srgbClr val="FFFFFF"/>
      </a:lt2>
      <a:accent1>
        <a:srgbClr val="C4C4CD"/>
      </a:accent1>
      <a:accent2>
        <a:srgbClr val="747480"/>
      </a:accent2>
      <a:accent3>
        <a:srgbClr val="FFE600"/>
      </a:accent3>
      <a:accent4>
        <a:srgbClr val="2E2E38"/>
      </a:accent4>
      <a:accent5>
        <a:srgbClr val="C4C4CD"/>
      </a:accent5>
      <a:accent6>
        <a:srgbClr val="747480"/>
      </a:accent6>
      <a:hlink>
        <a:srgbClr val="1777CF"/>
      </a:hlink>
      <a:folHlink>
        <a:srgbClr val="922B73"/>
      </a:folHlink>
    </a:clrScheme>
    <a:fontScheme name="Custom 2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171450" indent="-171450" algn="l" defTabSz="1019175">
          <a:lnSpc>
            <a:spcPct val="100000"/>
          </a:lnSpc>
          <a:spcBef>
            <a:spcPts val="600"/>
          </a:spcBef>
          <a:spcAft>
            <a:spcPts val="0"/>
          </a:spcAft>
          <a:buClr>
            <a:schemeClr val="accent3"/>
          </a:buClr>
          <a:buSzPct val="70000"/>
          <a:buFont typeface="Arial" panose="020B0604020202020204" pitchFamily="34" charset="0"/>
          <a:buChar char="►"/>
          <a:defRPr sz="1200" smtClean="0">
            <a:solidFill>
              <a:schemeClr val="bg1"/>
            </a:solidFill>
            <a:cs typeface="Arial" panose="020B0604020202020204" pitchFamily="34" charset="0"/>
          </a:defRPr>
        </a:defPPr>
      </a:lstStyle>
    </a:txDef>
  </a:objectDefaults>
  <a:extraClrSchemeLst>
    <a:extraClrScheme>
      <a:clrScheme name="EY 2015 colors">
        <a:dk1>
          <a:srgbClr val="000000"/>
        </a:dk1>
        <a:lt1>
          <a:srgbClr val="747480"/>
        </a:lt1>
        <a:dk2>
          <a:srgbClr val="FFFFFF"/>
        </a:dk2>
        <a:lt2>
          <a:srgbClr val="333333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Maroon01">
      <a:srgbClr val="C981B2"/>
    </a:custClr>
    <a:custClr name="Maroon02">
      <a:srgbClr val="B14891"/>
    </a:custClr>
    <a:custClr name="Maroon03">
      <a:srgbClr val="922B73"/>
    </a:custClr>
    <a:custClr name="Maroon04">
      <a:srgbClr val="750E5C"/>
    </a:custClr>
    <a:custClr name="Maroon05">
      <a:srgbClr val="5A0A42"/>
    </a:custClr>
    <a:custClr name="Maroon06">
      <a:srgbClr val="42152D"/>
    </a:custClr>
    <a:custClr name="Maroon07">
      <a:srgbClr val="351C21"/>
    </a:custClr>
    <a:custClr name="Purple01">
      <a:srgbClr val="9C82D4"/>
    </a:custClr>
    <a:custClr name="Purple06">
      <a:srgbClr val="0A095A"/>
    </a:custClr>
    <a:custClr name="Teal01">
      <a:srgbClr val="93F0E6"/>
    </a:custClr>
    <a:custClr name="Red01">
      <a:srgbClr val="FF9A91"/>
    </a:custClr>
    <a:custClr name="Red02">
      <a:srgbClr val="FF736A"/>
    </a:custClr>
    <a:custClr name="Red03">
      <a:srgbClr val="F95D54"/>
    </a:custClr>
    <a:custClr name="Red04">
      <a:srgbClr val="FF4136"/>
    </a:custClr>
    <a:custClr name="Red05">
      <a:srgbClr val="E0362C"/>
    </a:custClr>
    <a:custClr name="Red06">
      <a:srgbClr val="B9251C"/>
    </a:custClr>
    <a:custClr name="Red07">
      <a:srgbClr val="7A130D"/>
    </a:custClr>
    <a:custClr name="Purple02">
      <a:srgbClr val="724BC3"/>
    </a:custClr>
    <a:custClr name="Purple07">
      <a:srgbClr val="15173E"/>
    </a:custClr>
    <a:custClr name="Teal02">
      <a:srgbClr val="60E6E1"/>
    </a:custClr>
    <a:custClr name="Orange01">
      <a:srgbClr val="FFB46A"/>
    </a:custClr>
    <a:custClr name="Orange02">
      <a:srgbClr val="FF9831"/>
    </a:custClr>
    <a:custClr name="Orange03">
      <a:srgbClr val="FF810A"/>
    </a:custClr>
    <a:custClr name="Orange04">
      <a:srgbClr val="FF6D00"/>
    </a:custClr>
    <a:custClr name="Orange05">
      <a:srgbClr val="F76900"/>
    </a:custClr>
    <a:custClr name="Orange06">
      <a:srgbClr val="EB4F00"/>
    </a:custClr>
    <a:custClr name="Orange07">
      <a:srgbClr val="BC2F00"/>
    </a:custClr>
    <a:custClr name="Purple03">
      <a:srgbClr val="542EA5"/>
    </a:custClr>
    <a:custClr name="WHITE">
      <a:srgbClr val="FFFFFF"/>
    </a:custClr>
    <a:custClr name="Teal03">
      <a:srgbClr val="42C9C2"/>
    </a:custClr>
    <a:custClr name="Green01">
      <a:srgbClr val="8CE8AD"/>
    </a:custClr>
    <a:custClr name="Green02">
      <a:srgbClr val="57E188"/>
    </a:custClr>
    <a:custClr name="Green03">
      <a:srgbClr val="64C768"/>
    </a:custClr>
    <a:custClr name="Green04">
      <a:srgbClr val="2BD757"/>
    </a:custClr>
    <a:custClr name="Green05">
      <a:srgbClr val="189D3E"/>
    </a:custClr>
    <a:custClr name="Green06">
      <a:srgbClr val="168736"/>
    </a:custClr>
    <a:custClr name="Green07">
      <a:srgbClr val="13652A"/>
    </a:custClr>
    <a:custClr name="Purple04">
      <a:srgbClr val="3D108A"/>
    </a:custClr>
    <a:custClr name="Teal07">
      <a:srgbClr val="004F4F"/>
    </a:custClr>
    <a:custClr name="Teal04">
      <a:srgbClr val="27ACAA"/>
    </a:custClr>
    <a:custClr name="Blue01">
      <a:srgbClr val="87D3F2"/>
    </a:custClr>
    <a:custClr name="Blue02">
      <a:srgbClr val="4EBEEB"/>
    </a:custClr>
    <a:custClr name="Blue03">
      <a:srgbClr val="35A4E8"/>
    </a:custClr>
    <a:custClr name="Blue04">
      <a:srgbClr val="188CE5"/>
    </a:custClr>
    <a:custClr name="Blue05">
      <a:srgbClr val="1777CF"/>
    </a:custClr>
    <a:custClr name="Blue06">
      <a:srgbClr val="155CB4"/>
    </a:custClr>
    <a:custClr name="Blue07">
      <a:srgbClr val="082C65"/>
    </a:custClr>
    <a:custClr name="Purple05">
      <a:srgbClr val="240D75"/>
    </a:custClr>
    <a:custClr name="Teal06">
      <a:srgbClr val="0D7575"/>
    </a:custClr>
    <a:custClr name="Teal05">
      <a:srgbClr val="109090"/>
    </a:custClr>
  </a:custClrLst>
  <a:extLst>
    <a:ext uri="{05A4C25C-085E-4340-85A3-A5531E510DB2}">
      <thm15:themeFamily xmlns:thm15="http://schemas.microsoft.com/office/thememl/2012/main" name="16-9 DIGITAL Off white.potx" id="{B7BB6895-D66C-4AC7-92D3-9A8322C61696}" vid="{C89A1646-24AB-4673-94E5-7E55AFE0781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9f72d78-5de2-449e-8c8d-f70151faeeb9" xsi:nil="true"/>
    <lcf76f155ced4ddcb4097134ff3c332f xmlns="0bb1e1de-145d-49ff-81a0-a56406a91f7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10FCD84F0A524CB14319F6828F12B0" ma:contentTypeVersion="13" ma:contentTypeDescription="Create a new document." ma:contentTypeScope="" ma:versionID="b799decf79e89f56ddc47f3b223ab70e">
  <xsd:schema xmlns:xsd="http://www.w3.org/2001/XMLSchema" xmlns:xs="http://www.w3.org/2001/XMLSchema" xmlns:p="http://schemas.microsoft.com/office/2006/metadata/properties" xmlns:ns2="0bb1e1de-145d-49ff-81a0-a56406a91f78" xmlns:ns3="b9f72d78-5de2-449e-8c8d-f70151faeeb9" targetNamespace="http://schemas.microsoft.com/office/2006/metadata/properties" ma:root="true" ma:fieldsID="e66aa98d43f9d9eb461104087af4f287" ns2:_="" ns3:_="">
    <xsd:import namespace="0bb1e1de-145d-49ff-81a0-a56406a91f78"/>
    <xsd:import namespace="b9f72d78-5de2-449e-8c8d-f70151faee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b1e1de-145d-49ff-81a0-a56406a91f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72d78-5de2-449e-8c8d-f70151faeeb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a7fe750-70be-4c90-92e6-2227ab5757a1}" ma:internalName="TaxCatchAll" ma:showField="CatchAllData" ma:web="b9f72d78-5de2-449e-8c8d-f70151faee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7CBF42-0EDF-424F-B408-FA6C3F078EBE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0bb1e1de-145d-49ff-81a0-a56406a91f78"/>
    <ds:schemaRef ds:uri="http://purl.org/dc/dcmitype/"/>
    <ds:schemaRef ds:uri="http://schemas.microsoft.com/office/infopath/2007/PartnerControls"/>
    <ds:schemaRef ds:uri="b9f72d78-5de2-449e-8c8d-f70151faeeb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099A5C7-1E95-4F2F-82CA-974827626A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F48029-BF73-40AD-BCB0-7CDC4F2167F6}">
  <ds:schemaRefs>
    <ds:schemaRef ds:uri="0bb1e1de-145d-49ff-81a0-a56406a91f78"/>
    <ds:schemaRef ds:uri="b9f72d78-5de2-449e-8c8d-f70151faeeb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508</Words>
  <Application>Microsoft Office PowerPoint</Application>
  <PresentationFormat>Širokouhlá</PresentationFormat>
  <Paragraphs>18</Paragraphs>
  <Slides>1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9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</vt:i4>
      </vt:variant>
    </vt:vector>
  </HeadingPairs>
  <TitlesOfParts>
    <vt:vector size="12" baseType="lpstr">
      <vt:lpstr>Aptos</vt:lpstr>
      <vt:lpstr>Arial</vt:lpstr>
      <vt:lpstr>Calibri</vt:lpstr>
      <vt:lpstr>Calibri Light</vt:lpstr>
      <vt:lpstr>EYInterstate Light</vt:lpstr>
      <vt:lpstr>EYInterstate Regular</vt:lpstr>
      <vt:lpstr>Helvetica Neue Medium</vt:lpstr>
      <vt:lpstr>Times New Roman</vt:lpstr>
      <vt:lpstr>Wingdings</vt:lpstr>
      <vt:lpstr>1_EY_2020_Customscolors_AC</vt:lpstr>
      <vt:lpstr>think-cell Slide</vt:lpstr>
      <vt:lpstr>Call for Partners – Métropole du Grand Paris (Horizon Europe 2026 Multimodal freight transport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ll for Partners – Métropole du Grand Paris (Horizon Europe 2026 Multimodal freight transport)</dc:title>
  <dc:creator>Marie Chavoix</dc:creator>
  <cp:lastModifiedBy>Tuzinska Miroslava</cp:lastModifiedBy>
  <cp:revision>2</cp:revision>
  <dcterms:created xsi:type="dcterms:W3CDTF">2026-05-19T15:27:12Z</dcterms:created>
  <dcterms:modified xsi:type="dcterms:W3CDTF">2026-06-05T11:5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10FCD84F0A524CB14319F6828F12B0</vt:lpwstr>
  </property>
  <property fmtid="{D5CDD505-2E9C-101B-9397-08002B2CF9AE}" pid="3" name="MediaServiceImageTags">
    <vt:lpwstr/>
  </property>
</Properties>
</file>